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  <p:sldMasterId id="2147483696" r:id="rId6"/>
    <p:sldMasterId id="2147483717" r:id="rId7"/>
  </p:sldMasterIdLst>
  <p:notesMasterIdLst>
    <p:notesMasterId r:id="rId9"/>
  </p:notesMasterIdLst>
  <p:sldIdLst>
    <p:sldId id="266" r:id="rId8"/>
  </p:sldIdLst>
  <p:sldSz cx="9144000" cy="5143500" type="screen16x9"/>
  <p:notesSz cx="7315200" cy="9601200"/>
  <p:custDataLst>
    <p:tags r:id="rId10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D0C46C-A13C-1212-21F9-08645866F30D}" name="Lori Schrop" initials="LS" userId="S::lori.schrop@gs1.org::81a6ef44-3770-4ec0-bfd0-6f9e5a06cef1" providerId="AD"/>
  <p188:author id="{A13D0784-1F99-7887-22C3-75E35FFDBDF2}" name="Robert Beideman" initials="RB" userId="S::robert.beideman@gs1.org::d8bfe3c4-dff5-4ed8-89a1-01288e6d51d3" providerId="AD"/>
  <p188:author id="{0861018C-04E4-AB8A-A54E-BD1F086BD220}" name="Marianne Timmons" initials="MT" userId="S::marianne.timmons@gs1.org::a5cbf82d-431c-4238-abc8-714a3e9c2623" providerId="AD"/>
  <p188:author id="{21B8B9E1-38C6-E2FF-5FCA-30DAA72A8E88}" name="Kevin Stark" initials="KS" userId="S::kevin.stark@gs1.org::227fd7e8-e5e2-403d-8dab-b247763de2c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lagter-Beltman, Maaike" initials="SBM" lastIdx="160" clrIdx="0">
    <p:extLst>
      <p:ext uri="{19B8F6BF-5375-455C-9EA6-DF929625EA0E}">
        <p15:presenceInfo xmlns:p15="http://schemas.microsoft.com/office/powerpoint/2012/main" userId="S::maaike.slagter@capgemini.com::c80b4fbb-d2d7-4952-9384-05165e60720c" providerId="AD"/>
      </p:ext>
    </p:extLst>
  </p:cmAuthor>
  <p:cmAuthor id="2" name="Schip, Richard van" initials="SRv" lastIdx="7" clrIdx="1">
    <p:extLst>
      <p:ext uri="{19B8F6BF-5375-455C-9EA6-DF929625EA0E}">
        <p15:presenceInfo xmlns:p15="http://schemas.microsoft.com/office/powerpoint/2012/main" userId="S::richard.van.schip@capgemini.com::74560394-1bc7-4b17-96c1-e83cdd3234c0" providerId="AD"/>
      </p:ext>
    </p:extLst>
  </p:cmAuthor>
  <p:cmAuthor id="3" name="Anand, Somya" initials="AS" lastIdx="18" clrIdx="2">
    <p:extLst>
      <p:ext uri="{19B8F6BF-5375-455C-9EA6-DF929625EA0E}">
        <p15:presenceInfo xmlns:p15="http://schemas.microsoft.com/office/powerpoint/2012/main" userId="S::somya.anand@capgemini.com::c32030cd-fbe3-4a8d-99d2-c6b449d372ca" providerId="AD"/>
      </p:ext>
    </p:extLst>
  </p:cmAuthor>
  <p:cmAuthor id="4" name="Kevin Stark" initials="KS" lastIdx="27" clrIdx="3">
    <p:extLst>
      <p:ext uri="{19B8F6BF-5375-455C-9EA6-DF929625EA0E}">
        <p15:presenceInfo xmlns:p15="http://schemas.microsoft.com/office/powerpoint/2012/main" userId="S::kevin.stark@gs1.org::227fd7e8-e5e2-403d-8dab-b247763de2c5" providerId="AD"/>
      </p:ext>
    </p:extLst>
  </p:cmAuthor>
  <p:cmAuthor id="5" name="Kolhoff, Lobke" initials="KL" lastIdx="43" clrIdx="4">
    <p:extLst>
      <p:ext uri="{19B8F6BF-5375-455C-9EA6-DF929625EA0E}">
        <p15:presenceInfo xmlns:p15="http://schemas.microsoft.com/office/powerpoint/2012/main" userId="S::lobke.kolhoff@capgemini.com::d40cd2bf-92ad-4574-b27e-3b888eea66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6334"/>
    <a:srgbClr val="71B790"/>
    <a:srgbClr val="FBB034"/>
    <a:srgbClr val="5B9BD5"/>
    <a:srgbClr val="9ACCB0"/>
    <a:srgbClr val="00B74F"/>
    <a:srgbClr val="00B6DE"/>
    <a:srgbClr val="CCFFCC"/>
    <a:srgbClr val="45454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7" d="100"/>
          <a:sy n="137" d="100"/>
        </p:scale>
        <p:origin x="86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Stark" userId="227fd7e8-e5e2-403d-8dab-b247763de2c5" providerId="ADAL" clId="{C04F593C-D003-4868-8C72-D3556183C99A}"/>
    <pc:docChg chg="delSld">
      <pc:chgData name="Kevin Stark" userId="227fd7e8-e5e2-403d-8dab-b247763de2c5" providerId="ADAL" clId="{C04F593C-D003-4868-8C72-D3556183C99A}" dt="2022-12-09T18:44:14.818" v="0" actId="47"/>
      <pc:docMkLst>
        <pc:docMk/>
      </pc:docMkLst>
      <pc:sldChg chg="del">
        <pc:chgData name="Kevin Stark" userId="227fd7e8-e5e2-403d-8dab-b247763de2c5" providerId="ADAL" clId="{C04F593C-D003-4868-8C72-D3556183C99A}" dt="2022-12-09T18:44:14.818" v="0" actId="47"/>
        <pc:sldMkLst>
          <pc:docMk/>
          <pc:sldMk cId="3054657514" sldId="156893863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17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889843D-4FCC-4BD4-BE35-A687BB7EAE8C}" type="datetimeFigureOut">
              <a:rPr lang="en-US" smtClean="0"/>
              <a:pPr/>
              <a:t>12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78"/>
            <a:ext cx="5852160" cy="378047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258ED591-2716-4EBE-99D2-353D86C0A87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670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8ED591-2716-4EBE-99D2-353D86C0A87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52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porate Visual">
    <p:bg>
      <p:bgPr>
        <a:blipFill dpi="0"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139A2E-5138-4E68-B202-DAD505E95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7293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139A2E-5138-4E68-B202-DAD505E95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578612" y="2147713"/>
            <a:ext cx="6473961" cy="54537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rtl="0">
              <a:lnSpc>
                <a:spcPct val="1000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noProof="0"/>
              <a:t>Title of Presentation</a:t>
            </a:r>
            <a:br>
              <a:rPr lang="en-US" noProof="0"/>
            </a:br>
            <a:r>
              <a:rPr lang="en-US" noProof="0"/>
              <a:t>Second Line Title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20" y="2789595"/>
            <a:ext cx="647395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2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5018" y="3301488"/>
            <a:ext cx="6469241" cy="2581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1"/>
            <a:ext cx="6462906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9" y="3833759"/>
            <a:ext cx="6462925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048357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711B18D-DAB1-4296-9F9F-850931F446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7078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711B18D-DAB1-4296-9F9F-850931F446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555060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17682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0E87F-2CB6-4CD8-901D-FC02CE1EC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98525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0E87F-2CB6-4CD8-901D-FC02CE1EC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8355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B7F048-6820-46AA-BF78-47AAC72F90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3846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B7F048-6820-46AA-BF78-47AAC72F90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2057402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3931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111C15-ED07-4324-9655-F52DA749C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489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111C15-ED07-4324-9655-F52DA749C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6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20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6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5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6" y="4759631"/>
            <a:ext cx="247535" cy="150195"/>
          </a:xfrm>
        </p:spPr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792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129C50-A29A-4B79-9386-7C24F57AD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693227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129C50-A29A-4B79-9386-7C24F57AD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7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5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9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1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0660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54BBD2-7DFD-4572-A354-573AA5EFF0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5944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54BBD2-7DFD-4572-A354-573AA5EFF0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30474129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49C6EF-0160-47DA-AA75-03C5FFCD2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829298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949C6EF-0160-47DA-AA75-03C5FFCD2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7676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algn="l" rtl="0">
              <a:lnSpc>
                <a:spcPct val="110000"/>
              </a:lnSpc>
            </a:pPr>
            <a:endParaRPr lang="en-US" sz="900" b="0" i="1" noProof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 sz="1100" b="0" i="1" noProof="0">
                <a:solidFill>
                  <a:schemeClr val="bg1"/>
                </a:solidFill>
              </a:rPr>
              <a:t>Caption or</a:t>
            </a:r>
            <a:r>
              <a:rPr lang="en-US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US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US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US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8567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ACEFE5-4E3A-4C22-9ADC-29812A4CC6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0807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ACEFE5-4E3A-4C22-9ADC-29812A4CC6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9267608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7490A0-DB02-4EBA-825C-C9BCB8E1BC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0304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7490A0-DB02-4EBA-825C-C9BCB8E1BC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795558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algn="l" rtl="0">
              <a:lnSpc>
                <a:spcPct val="110000"/>
              </a:lnSpc>
            </a:pPr>
            <a:endParaRPr lang="en-US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 sz="1100" b="0" i="1" noProof="0">
                <a:solidFill>
                  <a:schemeClr val="bg1"/>
                </a:solidFill>
              </a:rPr>
              <a:t>Caption or</a:t>
            </a:r>
            <a:r>
              <a:rPr lang="en-US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US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US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US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3283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C491D6-8064-49DA-9353-7558D9E7D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08578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C491D6-8064-49DA-9353-7558D9E7D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3" y="1827362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40" y="1827362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750607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Block">
    <p:bg>
      <p:bgPr>
        <a:blipFill dpi="0"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D642DA-69EC-46CA-BFA8-A91657E50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456713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D642DA-69EC-46CA-BFA8-A91657E50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578612" y="2147713"/>
            <a:ext cx="7983283" cy="54537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rtl="0">
              <a:lnSpc>
                <a:spcPct val="1000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noProof="0"/>
              <a:t>Title of Presentation</a:t>
            </a:r>
            <a:br>
              <a:rPr lang="en-US" noProof="0"/>
            </a:br>
            <a:r>
              <a:rPr lang="en-US" noProof="0"/>
              <a:t>Second Line Title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19" y="2789595"/>
            <a:ext cx="798327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2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75017" y="3301488"/>
            <a:ext cx="7977462" cy="387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1"/>
            <a:ext cx="7969650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rtl="0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Presenter Name, Title, Company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8" y="3833759"/>
            <a:ext cx="7969674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4685202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91596F7-4120-4319-8113-0FC27FA300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96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91596F7-4120-4319-8113-0FC27FA30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5" y="1091048"/>
            <a:ext cx="8235758" cy="3319317"/>
          </a:xfrm>
          <a:prstGeom prst="rect">
            <a:avLst/>
          </a:prstGeom>
        </p:spPr>
        <p:txBody>
          <a:bodyPr/>
          <a:lstStyle>
            <a:lvl1pPr rtl="0">
              <a:lnSpc>
                <a:spcPct val="150000"/>
              </a:lnSpc>
              <a:defRPr sz="1500"/>
            </a:lvl1pPr>
            <a:lvl2pPr rtl="0">
              <a:lnSpc>
                <a:spcPct val="150000"/>
              </a:lnSpc>
              <a:defRPr sz="1500"/>
            </a:lvl2pPr>
            <a:lvl3pPr rtl="0">
              <a:lnSpc>
                <a:spcPct val="150000"/>
              </a:lnSpc>
              <a:defRPr sz="1500"/>
            </a:lvl3pPr>
            <a:lvl4pPr rtl="0">
              <a:lnSpc>
                <a:spcPct val="150000"/>
              </a:lnSpc>
              <a:defRPr sz="1500"/>
            </a:lvl4pPr>
            <a:lvl5pPr rtl="0">
              <a:lnSpc>
                <a:spcPct val="150000"/>
              </a:lnSpc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346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887C6D-F47F-4F67-A636-1F1ADA1441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33010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887C6D-F47F-4F67-A636-1F1ADA144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6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6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9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9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 kern="12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 kern="1200"/>
            </a:lvl3pPr>
            <a:lvl4pPr rtl="0">
              <a:lnSpc>
                <a:spcPct val="100000"/>
              </a:lnSpc>
              <a:spcBef>
                <a:spcPts val="400"/>
              </a:spcBef>
              <a:defRPr sz="1100" kern="1200"/>
            </a:lvl4pPr>
            <a:lvl5pPr rtl="0"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8318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DCD0687-3860-48E8-AAFD-1221F57A8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680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DCD0687-3860-48E8-AAFD-1221F57A8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582643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D0512EE-6723-4FE8-8778-1F4469B660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36236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D0512EE-6723-4FE8-8778-1F4469B66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8" y="132836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8" y="238779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8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399535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29AF1-F064-4420-BDFF-3292E75E22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5411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29AF1-F064-4420-BDFF-3292E75E2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2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  <a:lvl2pPr rtl="0">
              <a:lnSpc>
                <a:spcPts val="1800"/>
              </a:lnSpc>
              <a:defRPr sz="1200"/>
            </a:lvl2pPr>
            <a:lvl3pPr rtl="0">
              <a:lnSpc>
                <a:spcPts val="1800"/>
              </a:lnSpc>
              <a:defRPr sz="1200"/>
            </a:lvl3pPr>
            <a:lvl4pPr rtl="0">
              <a:lnSpc>
                <a:spcPts val="1800"/>
              </a:lnSpc>
              <a:defRPr sz="1200"/>
            </a:lvl4pPr>
            <a:lvl5pPr rtl="0">
              <a:lnSpc>
                <a:spcPts val="1800"/>
              </a:lnSpc>
              <a:defRPr sz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2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  <a:lvl2pPr rtl="0">
              <a:lnSpc>
                <a:spcPts val="1800"/>
              </a:lnSpc>
              <a:defRPr sz="1200"/>
            </a:lvl2pPr>
            <a:lvl3pPr rtl="0">
              <a:lnSpc>
                <a:spcPts val="1800"/>
              </a:lnSpc>
              <a:defRPr sz="1200"/>
            </a:lvl3pPr>
            <a:lvl4pPr rtl="0">
              <a:lnSpc>
                <a:spcPts val="1800"/>
              </a:lnSpc>
              <a:defRPr sz="1200"/>
            </a:lvl4pPr>
            <a:lvl5pPr rtl="0">
              <a:lnSpc>
                <a:spcPts val="1800"/>
              </a:lnSpc>
              <a:defRPr sz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11413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7DBDD6-5CA3-40A3-A98C-3C0E48C281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14425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7DBDD6-5CA3-40A3-A98C-3C0E48C28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8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4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4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4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1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2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2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2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5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5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5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3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3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3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1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9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2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20901144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5C38DB-D199-4181-B950-94627C2E7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2714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5C38DB-D199-4181-B950-94627C2E7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8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 rtl="0">
              <a:buFontTx/>
              <a:buNone/>
              <a:defRPr sz="1400" b="1" i="0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8" y="1433951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r>
              <a:rPr lang="en-US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8" y="29152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8" y="4060064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 b="1" i="0">
                <a:solidFill>
                  <a:schemeClr val="accent1"/>
                </a:solidFill>
              </a:defRPr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8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8" y="1781210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 b="0" baseline="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8" y="31670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8" y="3418889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7" y="291679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7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7" y="341845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7" y="367113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41495163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er - Editable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DFEC18-B1DE-49F9-B7A6-D713DA6751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7760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DFEC18-B1DE-49F9-B7A6-D713DA675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+mn-lt"/>
              </a:defRPr>
            </a:lvl1pPr>
          </a:lstStyle>
          <a:p>
            <a:fld id="{22807496-E89B-468E-BF7E-6C1A014CFD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7480" y="172643"/>
            <a:ext cx="8243942" cy="679647"/>
          </a:xfrm>
          <a:prstGeom prst="rect">
            <a:avLst/>
          </a:prstGeom>
          <a:solidFill>
            <a:srgbClr val="FFFFFF">
              <a:alpha val="34118"/>
            </a:srgbClr>
          </a:solidFill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rtl="0">
              <a:defRPr lang="en-GB" sz="2400" b="0" noProof="0" dirty="0">
                <a:solidFill>
                  <a:schemeClr val="tx2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 algn="ctr"/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62430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957231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1" y="1091410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69160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rporate Visual">
    <p:bg>
      <p:bgPr>
        <a:blipFill dpi="0"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E5EFCB-9BF0-45F5-824C-B6DFD4035A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34074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E5EFCB-9BF0-45F5-824C-B6DFD4035A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578612" y="2147714"/>
            <a:ext cx="6473961" cy="668374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algn="l" rtl="0">
              <a:lnSpc>
                <a:spcPts val="24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/>
              <a:t>Title of Presentation</a:t>
            </a:r>
            <a:br>
              <a:rPr lang="en-US"/>
            </a:br>
            <a:r>
              <a:rPr lang="en-US"/>
              <a:t>Second Line Title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0131" y="4431488"/>
            <a:ext cx="1346293" cy="432197"/>
          </a:xfrm>
          <a:prstGeom prst="rect">
            <a:avLst/>
          </a:prstGeom>
          <a:noFill/>
        </p:spPr>
        <p:txBody>
          <a:bodyPr anchor="t" anchorCtr="0">
            <a:normAutofit/>
          </a:bodyPr>
          <a:lstStyle>
            <a:lvl1pPr marL="0" indent="0" algn="l" rtl="0">
              <a:buNone/>
              <a:defRPr sz="900" b="0" i="0" spc="0">
                <a:solidFill>
                  <a:srgbClr val="B1B3B3"/>
                </a:solidFill>
                <a:latin typeface="Verdana"/>
                <a:cs typeface="Verdana"/>
              </a:defRPr>
            </a:lvl1pPr>
          </a:lstStyle>
          <a:p>
            <a:r>
              <a:rPr lang="en-US"/>
              <a:t>Partner Logo Here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20" y="2906362"/>
            <a:ext cx="6473954" cy="52851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3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5018" y="3535024"/>
            <a:ext cx="6469241" cy="2581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612216"/>
            <a:ext cx="6462906" cy="158051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1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9" y="3833759"/>
            <a:ext cx="6462925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>
              <a:buNone/>
              <a:defRPr sz="11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2829563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555060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4656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1496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2057402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3297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6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20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6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5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6" y="4759631"/>
            <a:ext cx="247535" cy="150195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959086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7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5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9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1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96420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4774897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7676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6797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8768478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795558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1662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3" y="1827362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40" y="1827362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0926006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AA2A27-95C8-491F-9BE3-89A374FFE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80989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AA2A27-95C8-491F-9BE3-89A374FFE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1" y="1091410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9507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5" y="1091048"/>
            <a:ext cx="8235758" cy="3319317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00"/>
            </a:lvl1pPr>
            <a:lvl2pPr>
              <a:lnSpc>
                <a:spcPct val="150000"/>
              </a:lnSpc>
              <a:defRPr sz="1500"/>
            </a:lvl2pPr>
            <a:lvl3pPr>
              <a:lnSpc>
                <a:spcPct val="150000"/>
              </a:lnSpc>
              <a:defRPr sz="1500"/>
            </a:lvl3pPr>
            <a:lvl4pPr>
              <a:lnSpc>
                <a:spcPct val="150000"/>
              </a:lnSpc>
              <a:defRPr sz="1500"/>
            </a:lvl4pPr>
            <a:lvl5pPr>
              <a:lnSpc>
                <a:spcPct val="150000"/>
              </a:lnSpc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101777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6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6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9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9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 kern="12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 kern="1200"/>
            </a:lvl3pPr>
            <a:lvl4pPr>
              <a:lnSpc>
                <a:spcPct val="100000"/>
              </a:lnSpc>
              <a:spcBef>
                <a:spcPts val="400"/>
              </a:spcBef>
              <a:defRPr sz="1100" kern="1200"/>
            </a:lvl4pPr>
            <a:lvl5pPr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95420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6267885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8" y="132836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8" y="238779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8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970139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2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2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35204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8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>
              <a:lnSpc>
                <a:spcPct val="100000"/>
              </a:lnSpc>
              <a:buClr>
                <a:schemeClr val="accent4"/>
              </a:buClr>
              <a:defRPr sz="900"/>
            </a:lvl1pPr>
            <a:lvl2pPr marL="269993" indent="-136796">
              <a:lnSpc>
                <a:spcPct val="100000"/>
              </a:lnSpc>
              <a:buClr>
                <a:schemeClr val="accent4"/>
              </a:buClr>
              <a:defRPr sz="900"/>
            </a:lvl2pPr>
            <a:lvl3pPr marL="359991" indent="-136796" algn="l">
              <a:lnSpc>
                <a:spcPct val="100000"/>
              </a:lnSpc>
              <a:buClr>
                <a:schemeClr val="accent4"/>
              </a:buClr>
              <a:defRPr sz="900"/>
            </a:lvl3pPr>
            <a:lvl4pPr marL="511187" indent="-136796">
              <a:lnSpc>
                <a:spcPct val="100000"/>
              </a:lnSpc>
              <a:buClr>
                <a:schemeClr val="accent4"/>
              </a:buClr>
              <a:defRPr sz="900"/>
            </a:lvl4pPr>
            <a:lvl5pPr marL="655184" indent="-136796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1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>
              <a:lnSpc>
                <a:spcPct val="100000"/>
              </a:lnSpc>
              <a:buClr>
                <a:schemeClr val="accent2"/>
              </a:buClr>
              <a:defRPr sz="900"/>
            </a:lvl1pPr>
            <a:lvl2pPr marL="269993" indent="-136796">
              <a:lnSpc>
                <a:spcPct val="100000"/>
              </a:lnSpc>
              <a:buClr>
                <a:schemeClr val="accent2"/>
              </a:buClr>
              <a:defRPr sz="900"/>
            </a:lvl2pPr>
            <a:lvl3pPr marL="359991" indent="-136796" algn="l">
              <a:lnSpc>
                <a:spcPct val="100000"/>
              </a:lnSpc>
              <a:buClr>
                <a:schemeClr val="accent2"/>
              </a:buClr>
              <a:defRPr sz="900"/>
            </a:lvl3pPr>
            <a:lvl4pPr marL="511187" indent="-136796">
              <a:lnSpc>
                <a:spcPct val="100000"/>
              </a:lnSpc>
              <a:buClr>
                <a:schemeClr val="accent2"/>
              </a:buClr>
              <a:defRPr sz="900"/>
            </a:lvl4pPr>
            <a:lvl5pPr marL="655184" indent="-136796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>
              <a:lnSpc>
                <a:spcPct val="100000"/>
              </a:lnSpc>
              <a:buClr>
                <a:schemeClr val="accent5"/>
              </a:buClr>
              <a:defRPr sz="900"/>
            </a:lvl1pPr>
            <a:lvl2pPr marL="269993" indent="-136796">
              <a:lnSpc>
                <a:spcPct val="100000"/>
              </a:lnSpc>
              <a:buClr>
                <a:schemeClr val="accent5"/>
              </a:buClr>
              <a:defRPr sz="900"/>
            </a:lvl2pPr>
            <a:lvl3pPr marL="359991" indent="-136796" algn="l">
              <a:lnSpc>
                <a:spcPct val="100000"/>
              </a:lnSpc>
              <a:buClr>
                <a:schemeClr val="accent5"/>
              </a:buClr>
              <a:defRPr sz="900"/>
            </a:lvl3pPr>
            <a:lvl4pPr marL="511187" indent="-136796">
              <a:lnSpc>
                <a:spcPct val="100000"/>
              </a:lnSpc>
              <a:buClr>
                <a:schemeClr val="accent5"/>
              </a:buClr>
              <a:defRPr sz="900"/>
            </a:lvl4pPr>
            <a:lvl5pPr marL="655184" indent="-136796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>
              <a:lnSpc>
                <a:spcPct val="100000"/>
              </a:lnSpc>
              <a:buClr>
                <a:schemeClr val="accent3"/>
              </a:buClr>
              <a:defRPr sz="900"/>
            </a:lvl1pPr>
            <a:lvl2pPr marL="269993" indent="-136796">
              <a:lnSpc>
                <a:spcPct val="100000"/>
              </a:lnSpc>
              <a:buClr>
                <a:schemeClr val="accent3"/>
              </a:buClr>
              <a:defRPr sz="900"/>
            </a:lvl2pPr>
            <a:lvl3pPr marL="359991" indent="-136796" algn="l">
              <a:lnSpc>
                <a:spcPct val="100000"/>
              </a:lnSpc>
              <a:buClr>
                <a:schemeClr val="accent3"/>
              </a:buClr>
              <a:defRPr sz="900"/>
            </a:lvl3pPr>
            <a:lvl4pPr marL="511187" indent="-136796">
              <a:lnSpc>
                <a:spcPct val="100000"/>
              </a:lnSpc>
              <a:buClr>
                <a:schemeClr val="accent3"/>
              </a:buClr>
              <a:defRPr sz="900"/>
            </a:lvl4pPr>
            <a:lvl5pPr marL="655184" indent="-136796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1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9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2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21097292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8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00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8" y="1433951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8" y="29152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8" y="4060064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 b="1" i="0">
                <a:solidFill>
                  <a:schemeClr val="accent1"/>
                </a:solidFill>
              </a:defRPr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8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8" y="1781210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 b="0" baseline="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8" y="31670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8" y="3418889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7" y="291679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>
              <a:buNone/>
              <a:defRPr sz="120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7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>
              <a:buNone/>
              <a:defRPr sz="120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7" y="341845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>
              <a:buNone/>
              <a:defRPr sz="120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7" y="367113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>
              <a:buNone/>
              <a:defRPr sz="120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39128453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49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43" indent="0">
              <a:buNone/>
              <a:defRPr>
                <a:solidFill>
                  <a:schemeClr val="bg1"/>
                </a:solidFill>
              </a:defRPr>
            </a:lvl2pPr>
            <a:lvl3pPr marL="538637" indent="0">
              <a:buNone/>
              <a:defRPr>
                <a:solidFill>
                  <a:schemeClr val="bg1"/>
                </a:solidFill>
              </a:defRPr>
            </a:lvl3pPr>
            <a:lvl4pPr marL="822602" indent="0">
              <a:buNone/>
              <a:defRPr>
                <a:solidFill>
                  <a:schemeClr val="bg1"/>
                </a:solidFill>
              </a:defRPr>
            </a:lvl4pPr>
            <a:lvl5pPr marL="103859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7628839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FC3269-72A6-46DB-90F1-6D14640D57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8116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FC3269-72A6-46DB-90F1-6D14640D5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58092E-0BAC-4DCC-81C9-0A078E09D1D8}"/>
              </a:ext>
            </a:extLst>
          </p:cNvPr>
          <p:cNvSpPr txBox="1">
            <a:spLocks/>
          </p:cNvSpPr>
          <p:nvPr userDrawn="1"/>
        </p:nvSpPr>
        <p:spPr>
          <a:xfrm>
            <a:off x="8447486" y="4717318"/>
            <a:ext cx="368763" cy="19250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z="698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698"/>
          </a:p>
        </p:txBody>
      </p:sp>
    </p:spTree>
    <p:extLst>
      <p:ext uri="{BB962C8B-B14F-4D97-AF65-F5344CB8AC3E}">
        <p14:creationId xmlns:p14="http://schemas.microsoft.com/office/powerpoint/2010/main" val="13423832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AA2A27-95C8-491F-9BE3-89A374FFE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80989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AA2A27-95C8-491F-9BE3-89A374FFE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1" y="1091410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858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25BC90-44AE-4D07-B32B-49BF632EF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61928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25BC90-44AE-4D07-B32B-49BF632EF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609" y="87475"/>
            <a:ext cx="8210829" cy="537533"/>
          </a:xfrm>
        </p:spPr>
        <p:txBody>
          <a:bodyPr vert="horz" lIns="0" tIns="0" rIns="0" bIns="0" rtlCol="0" anchor="b" anchorCtr="0">
            <a:noAutofit/>
          </a:bodyPr>
          <a:lstStyle>
            <a:lvl1pPr rtl="0">
              <a:defRPr lang="en-GB" sz="15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65592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711B18D-DAB1-4296-9F9F-850931F446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7078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711B18D-DAB1-4296-9F9F-850931F446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555060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3862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50E87F-2CB6-4CD8-901D-FC02CE1EC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998525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50E87F-2CB6-4CD8-901D-FC02CE1EC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42884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B7F048-6820-46AA-BF78-47AAC72F90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3846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B7F048-6820-46AA-BF78-47AAC72F90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1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US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2057402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386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111C15-ED07-4324-9655-F52DA749C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489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111C15-ED07-4324-9655-F52DA749C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6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20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6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5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6" y="4759631"/>
            <a:ext cx="247535" cy="150195"/>
          </a:xfrm>
        </p:spPr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5385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129C50-A29A-4B79-9386-7C24F57AD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693227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129C50-A29A-4B79-9386-7C24F57AD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7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5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9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7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US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1" y="1685519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100"/>
            </a:lvl1pPr>
            <a:lvl2pPr rtl="0">
              <a:lnSpc>
                <a:spcPct val="100000"/>
              </a:lnSpc>
              <a:buClr>
                <a:schemeClr val="accent1"/>
              </a:buClr>
              <a:defRPr sz="1100"/>
            </a:lvl2pPr>
            <a:lvl3pPr rtl="0">
              <a:lnSpc>
                <a:spcPct val="100000"/>
              </a:lnSpc>
              <a:buClr>
                <a:schemeClr val="accent1"/>
              </a:buClr>
              <a:defRPr sz="1100"/>
            </a:lvl3pPr>
            <a:lvl4pPr rtl="0">
              <a:lnSpc>
                <a:spcPct val="100000"/>
              </a:lnSpc>
              <a:buClr>
                <a:schemeClr val="accent1"/>
              </a:buClr>
              <a:defRPr sz="1100"/>
            </a:lvl4pPr>
            <a:lvl5pPr rtl="0"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73443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54BBD2-7DFD-4572-A354-573AA5EFF0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5944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54BBD2-7DFD-4572-A354-573AA5EFF0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32469624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49C6EF-0160-47DA-AA75-03C5FFCD2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829298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949C6EF-0160-47DA-AA75-03C5FFCD2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2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7676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algn="l" rtl="0">
              <a:lnSpc>
                <a:spcPct val="110000"/>
              </a:lnSpc>
            </a:pPr>
            <a:endParaRPr lang="en-US" sz="900" b="0" i="1" noProof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 sz="1100" b="0" i="1" noProof="0">
                <a:solidFill>
                  <a:schemeClr val="bg1"/>
                </a:solidFill>
              </a:rPr>
              <a:t>Caption or</a:t>
            </a:r>
            <a:r>
              <a:rPr lang="en-US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US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US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US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893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ACEFE5-4E3A-4C22-9ADC-29812A4CC6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0807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ACEFE5-4E3A-4C22-9ADC-29812A4CC6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5300031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7490A0-DB02-4EBA-825C-C9BCB8E1BC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0304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7490A0-DB02-4EBA-825C-C9BCB8E1BC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9" y="1814426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buClr>
                <a:schemeClr val="accent1"/>
              </a:buClr>
              <a:defRPr sz="1300"/>
            </a:lvl1pPr>
            <a:lvl2pPr rtl="0">
              <a:lnSpc>
                <a:spcPct val="100000"/>
              </a:lnSpc>
              <a:buClr>
                <a:schemeClr val="accent1"/>
              </a:buClr>
              <a:defRPr sz="1300"/>
            </a:lvl2pPr>
            <a:lvl3pPr rtl="0">
              <a:lnSpc>
                <a:spcPct val="100000"/>
              </a:lnSpc>
              <a:buClr>
                <a:schemeClr val="accent1"/>
              </a:buClr>
              <a:defRPr sz="1300"/>
            </a:lvl3pPr>
            <a:lvl4pPr rtl="0">
              <a:lnSpc>
                <a:spcPct val="100000"/>
              </a:lnSpc>
              <a:buClr>
                <a:schemeClr val="accent1"/>
              </a:buClr>
              <a:defRPr sz="1300"/>
            </a:lvl4pPr>
            <a:lvl5pPr rtl="0"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8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795558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marL="0" marR="0" indent="0" algn="l" defTabSz="91428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b="0" i="1" noProof="0">
              <a:solidFill>
                <a:schemeClr val="bg1"/>
              </a:solidFill>
            </a:endParaRPr>
          </a:p>
          <a:p>
            <a:pPr algn="l" rtl="0">
              <a:lnSpc>
                <a:spcPct val="110000"/>
              </a:lnSpc>
            </a:pPr>
            <a:endParaRPr lang="en-US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49" marR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49" marR="0" lvl="0" indent="0" algn="l" defTabSz="457144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 sz="1100" b="0" i="1" noProof="0">
                <a:solidFill>
                  <a:schemeClr val="bg1"/>
                </a:solidFill>
              </a:rPr>
              <a:t>Caption or</a:t>
            </a:r>
            <a:r>
              <a:rPr lang="en-US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US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US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US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4240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C491D6-8064-49DA-9353-7558D9E7D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08578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C491D6-8064-49DA-9353-7558D9E7D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3" y="1827362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40" y="1827362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rtl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6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610106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7DBDD6-5CA3-40A3-A98C-3C0E48C281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8986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7DBDD6-5CA3-40A3-A98C-3C0E48C28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8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4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4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4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1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2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2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2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5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5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5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3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3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3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1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9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2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25740861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91596F7-4120-4319-8113-0FC27FA300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96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91596F7-4120-4319-8113-0FC27FA30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5" y="1091048"/>
            <a:ext cx="8235758" cy="3319317"/>
          </a:xfrm>
          <a:prstGeom prst="rect">
            <a:avLst/>
          </a:prstGeom>
        </p:spPr>
        <p:txBody>
          <a:bodyPr/>
          <a:lstStyle>
            <a:lvl1pPr rtl="0">
              <a:lnSpc>
                <a:spcPct val="150000"/>
              </a:lnSpc>
              <a:defRPr sz="1500"/>
            </a:lvl1pPr>
            <a:lvl2pPr rtl="0">
              <a:lnSpc>
                <a:spcPct val="150000"/>
              </a:lnSpc>
              <a:defRPr sz="1500"/>
            </a:lvl2pPr>
            <a:lvl3pPr rtl="0">
              <a:lnSpc>
                <a:spcPct val="150000"/>
              </a:lnSpc>
              <a:defRPr sz="1500"/>
            </a:lvl3pPr>
            <a:lvl4pPr rtl="0">
              <a:lnSpc>
                <a:spcPct val="150000"/>
              </a:lnSpc>
              <a:defRPr sz="1500"/>
            </a:lvl4pPr>
            <a:lvl5pPr rtl="0">
              <a:lnSpc>
                <a:spcPct val="150000"/>
              </a:lnSpc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1454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887C6D-F47F-4F67-A636-1F1ADA1441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33010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887C6D-F47F-4F67-A636-1F1ADA144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6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6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9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/>
            </a:lvl3pPr>
            <a:lvl4pPr rtl="0">
              <a:lnSpc>
                <a:spcPct val="100000"/>
              </a:lnSpc>
              <a:spcBef>
                <a:spcPts val="400"/>
              </a:spcBef>
              <a:defRPr sz="1100"/>
            </a:lvl4pPr>
            <a:lvl5pPr rtl="0"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9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 rtl="0">
              <a:lnSpc>
                <a:spcPct val="100000"/>
              </a:lnSpc>
              <a:spcBef>
                <a:spcPts val="400"/>
              </a:spcBef>
              <a:defRPr sz="1100" kern="1200"/>
            </a:lvl1pPr>
            <a:lvl2pPr rtl="0">
              <a:lnSpc>
                <a:spcPct val="100000"/>
              </a:lnSpc>
              <a:spcBef>
                <a:spcPts val="400"/>
              </a:spcBef>
              <a:defRPr sz="1100"/>
            </a:lvl2pPr>
            <a:lvl3pPr rtl="0">
              <a:lnSpc>
                <a:spcPct val="100000"/>
              </a:lnSpc>
              <a:spcBef>
                <a:spcPts val="400"/>
              </a:spcBef>
              <a:defRPr sz="1100" kern="1200"/>
            </a:lvl3pPr>
            <a:lvl4pPr rtl="0">
              <a:lnSpc>
                <a:spcPct val="100000"/>
              </a:lnSpc>
              <a:spcBef>
                <a:spcPts val="400"/>
              </a:spcBef>
              <a:defRPr sz="1100" kern="1200"/>
            </a:lvl4pPr>
            <a:lvl5pPr rtl="0"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49962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DCD0687-3860-48E8-AAFD-1221F57A8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680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DCD0687-3860-48E8-AAFD-1221F57A8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72000" y="1183586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441258" y="2733873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8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lnSpc>
                <a:spcPct val="100000"/>
              </a:lnSpc>
              <a:defRPr sz="1100"/>
            </a:lvl1pPr>
            <a:lvl2pPr rtl="0">
              <a:lnSpc>
                <a:spcPct val="100000"/>
              </a:lnSpc>
              <a:defRPr sz="1100"/>
            </a:lvl2pPr>
            <a:lvl3pPr rtl="0">
              <a:lnSpc>
                <a:spcPct val="100000"/>
              </a:lnSpc>
              <a:defRPr sz="1100"/>
            </a:lvl3pPr>
            <a:lvl4pPr rtl="0">
              <a:lnSpc>
                <a:spcPct val="100000"/>
              </a:lnSpc>
              <a:defRPr sz="1100"/>
            </a:lvl4pPr>
            <a:lvl5pPr rtl="0">
              <a:lnSpc>
                <a:spcPct val="100000"/>
              </a:lnSpc>
              <a:defRPr sz="11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30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rtl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US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9488374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D0512EE-6723-4FE8-8778-1F4469B660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36236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D0512EE-6723-4FE8-8778-1F4469B66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8" y="132836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8" y="2387790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8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</a:lstStyle>
          <a:p>
            <a:pPr lvl="0"/>
            <a:r>
              <a:rPr lang="en-US" noProof="0"/>
              <a:t>Add text here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176921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29AF1-F064-4420-BDFF-3292E75E22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5411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29AF1-F064-4420-BDFF-3292E75E2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2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  <a:lvl2pPr rtl="0">
              <a:lnSpc>
                <a:spcPts val="1800"/>
              </a:lnSpc>
              <a:defRPr sz="1200"/>
            </a:lvl2pPr>
            <a:lvl3pPr rtl="0">
              <a:lnSpc>
                <a:spcPts val="1800"/>
              </a:lnSpc>
              <a:defRPr sz="1200"/>
            </a:lvl3pPr>
            <a:lvl4pPr rtl="0">
              <a:lnSpc>
                <a:spcPts val="1800"/>
              </a:lnSpc>
              <a:defRPr sz="1200"/>
            </a:lvl4pPr>
            <a:lvl5pPr rtl="0">
              <a:lnSpc>
                <a:spcPts val="1800"/>
              </a:lnSpc>
              <a:defRPr sz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2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44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 rtl="0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 sz="1200"/>
            </a:lvl1pPr>
            <a:lvl2pPr rtl="0">
              <a:lnSpc>
                <a:spcPts val="1800"/>
              </a:lnSpc>
              <a:defRPr sz="1200"/>
            </a:lvl2pPr>
            <a:lvl3pPr rtl="0">
              <a:lnSpc>
                <a:spcPts val="1800"/>
              </a:lnSpc>
              <a:defRPr sz="1200"/>
            </a:lvl3pPr>
            <a:lvl4pPr rtl="0">
              <a:lnSpc>
                <a:spcPts val="1800"/>
              </a:lnSpc>
              <a:defRPr sz="1200"/>
            </a:lvl4pPr>
            <a:lvl5pPr rtl="0">
              <a:lnSpc>
                <a:spcPts val="1800"/>
              </a:lnSpc>
              <a:defRPr sz="12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222870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7DBDD6-5CA3-40A3-A98C-3C0E48C281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89863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7DBDD6-5CA3-40A3-A98C-3C0E48C28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8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4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4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4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1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2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2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2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5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5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5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56" rtl="0">
              <a:lnSpc>
                <a:spcPct val="100000"/>
              </a:lnSpc>
              <a:buClr>
                <a:schemeClr val="accent3"/>
              </a:buClr>
              <a:defRPr sz="900"/>
            </a:lvl1pPr>
            <a:lvl2pPr marL="269993" indent="-136796" rtl="0">
              <a:lnSpc>
                <a:spcPct val="100000"/>
              </a:lnSpc>
              <a:buClr>
                <a:schemeClr val="accent3"/>
              </a:buClr>
              <a:defRPr sz="900"/>
            </a:lvl2pPr>
            <a:lvl3pPr marL="359991" indent="-136796" algn="l" rtl="0">
              <a:lnSpc>
                <a:spcPct val="100000"/>
              </a:lnSpc>
              <a:buClr>
                <a:schemeClr val="accent3"/>
              </a:buClr>
              <a:defRPr sz="900"/>
            </a:lvl3pPr>
            <a:lvl4pPr marL="511187" indent="-136796" rtl="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184" indent="-136796" rtl="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0"/>
            <a:endParaRPr lang="en-US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1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9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2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 rtl="0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</a:t>
            </a:r>
            <a:br>
              <a:rPr lang="en-US" noProof="0"/>
            </a:br>
            <a:r>
              <a:rPr lang="en-US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39354799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5C38DB-D199-4181-B950-94627C2E7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2714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5C38DB-D199-4181-B950-94627C2E7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8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 rtl="0">
              <a:buFontTx/>
              <a:buNone/>
              <a:defRPr sz="1400" b="1" i="0"/>
            </a:lvl1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8" y="1433951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r>
              <a:rPr lang="en-US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8" y="29152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8" y="4060064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 b="1" i="0">
                <a:solidFill>
                  <a:schemeClr val="accent1"/>
                </a:solidFill>
              </a:defRPr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8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8" y="1781210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 b="0" baseline="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8" y="31670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8" y="3418889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49" indent="0" rtl="0">
              <a:buNone/>
              <a:defRPr sz="1200"/>
            </a:lvl1pPr>
            <a:lvl2pPr marL="272243" indent="0">
              <a:buNone/>
              <a:defRPr/>
            </a:lvl2pPr>
            <a:lvl3pPr marL="538637" indent="0">
              <a:buNone/>
              <a:defRPr/>
            </a:lvl3pPr>
            <a:lvl4pPr marL="822602" indent="0">
              <a:buNone/>
              <a:defRPr/>
            </a:lvl4pPr>
            <a:lvl5pPr marL="1038596" indent="0">
              <a:buNone/>
              <a:defRPr/>
            </a:lvl5pPr>
          </a:lstStyle>
          <a:p>
            <a:pPr lvl="0"/>
            <a:r>
              <a:rPr lang="en-US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7" y="291679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7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7" y="341845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7" y="3671130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49" indent="0" algn="l" rtl="0">
              <a:buNone/>
              <a:defRPr sz="1200" b="1" i="0"/>
            </a:lvl1pPr>
          </a:lstStyle>
          <a:p>
            <a:pPr lvl="0"/>
            <a:r>
              <a:rPr lang="en-US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6163574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Header - Editable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DFEC18-B1DE-49F9-B7A6-D713DA6751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7760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DFEC18-B1DE-49F9-B7A6-D713DA675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/>
          <a:lstStyle>
            <a:lvl1pPr rtl="0">
              <a:defRPr>
                <a:latin typeface="+mn-lt"/>
              </a:defRPr>
            </a:lvl1pPr>
          </a:lstStyle>
          <a:p>
            <a:fld id="{22807496-E89B-468E-BF7E-6C1A014CFD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7480" y="172643"/>
            <a:ext cx="8243942" cy="679647"/>
          </a:xfrm>
          <a:prstGeom prst="rect">
            <a:avLst/>
          </a:prstGeom>
          <a:solidFill>
            <a:srgbClr val="FFFFFF">
              <a:alpha val="34118"/>
            </a:srgbClr>
          </a:solidFill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rtl="0">
              <a:defRPr lang="en-GB" sz="2400" b="0" noProof="0" dirty="0">
                <a:solidFill>
                  <a:schemeClr val="tx2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 algn="ctr"/>
            <a:r>
              <a:rPr lang="en-US" noProof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47288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F41E59-48B0-4524-B901-6EC1A9495F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1919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4F41E59-48B0-4524-B901-6EC1A9495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>
            <a:lvl1pPr rtl="0">
              <a:defRPr lang="en-GB" sz="2400" b="0" noProof="0" dirty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21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FC3269-72A6-46DB-90F1-6D14640D57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8116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FC3269-72A6-46DB-90F1-6D14640D5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58092E-0BAC-4DCC-81C9-0A078E09D1D8}"/>
              </a:ext>
            </a:extLst>
          </p:cNvPr>
          <p:cNvSpPr txBox="1">
            <a:spLocks/>
          </p:cNvSpPr>
          <p:nvPr userDrawn="1"/>
        </p:nvSpPr>
        <p:spPr>
          <a:xfrm>
            <a:off x="8447486" y="4717318"/>
            <a:ext cx="368763" cy="19250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z="698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 sz="698"/>
          </a:p>
        </p:txBody>
      </p:sp>
    </p:spTree>
    <p:extLst>
      <p:ext uri="{BB962C8B-B14F-4D97-AF65-F5344CB8AC3E}">
        <p14:creationId xmlns:p14="http://schemas.microsoft.com/office/powerpoint/2010/main" val="18917507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AA2A27-95C8-491F-9BE3-89A374FFE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80989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AA2A27-95C8-491F-9BE3-89A374FFE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1" y="1091410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rtl="0">
              <a:defRPr sz="1500"/>
            </a:lvl1pPr>
            <a:lvl2pPr rtl="0">
              <a:defRPr sz="1500"/>
            </a:lvl2pPr>
            <a:lvl3pPr rtl="0">
              <a:defRPr sz="1500"/>
            </a:lvl3pPr>
            <a:lvl4pPr rtl="0">
              <a:defRPr sz="1500"/>
            </a:lvl4pPr>
            <a:lvl5pPr rtl="0">
              <a:defRPr sz="1500"/>
            </a:lvl5pPr>
          </a:lstStyle>
          <a:p>
            <a:pPr lvl="0"/>
            <a:r>
              <a:rPr lang="en-US" noProof="0"/>
              <a:t>Add text her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833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0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oleObject" Target="../embeddings/oleObject9.bin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50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oleObject" Target="../embeddings/oleObject30.bin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tags" Target="../tags/tag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3D3AA05-729B-4875-A0C2-FCEAD17B92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9618150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3D3AA05-729B-4875-A0C2-FCEAD17B9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9">
            <a:extLst>
              <a:ext uri="{FF2B5EF4-FFF2-40B4-BE49-F238E27FC236}">
                <a16:creationId xmlns:a16="http://schemas.microsoft.com/office/drawing/2014/main" id="{304D3DA5-419B-41D5-BC89-7C64ADE920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rtl="0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73816-B340-6289-A972-C7578C6089D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43" y="655719"/>
            <a:ext cx="2129612" cy="626216"/>
          </a:xfrm>
          <a:prstGeom prst="rect">
            <a:avLst/>
          </a:prstGeom>
        </p:spPr>
      </p:pic>
      <p:pic>
        <p:nvPicPr>
          <p:cNvPr id="11" name="Picture 10" descr="14GSGL0011_D08_PPT_Cover_Global-Language-of-Business.png">
            <a:extLst>
              <a:ext uri="{FF2B5EF4-FFF2-40B4-BE49-F238E27FC236}">
                <a16:creationId xmlns:a16="http://schemas.microsoft.com/office/drawing/2014/main" id="{D69758FF-0199-D2F7-AA0F-84BFFB086C8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750" y="965933"/>
            <a:ext cx="1429409" cy="7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230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7" r:id="rId3"/>
    <p:sldLayoutId id="2147483690" r:id="rId4"/>
    <p:sldLayoutId id="2147483691" r:id="rId5"/>
    <p:sldLayoutId id="2147483693" r:id="rId6"/>
    <p:sldLayoutId id="2147483694" r:id="rId7"/>
  </p:sldLayoutIdLst>
  <p:hf hdr="0" ftr="0" dt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5D51D-3F2E-4ADA-9502-7F4864F72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97654851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5D51D-3F2E-4ADA-9502-7F4864F72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80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 sz="600" noProof="0">
                <a:solidFill>
                  <a:srgbClr val="454545"/>
                </a:solidFill>
              </a:rPr>
              <a:t>© GS1</a:t>
            </a:r>
            <a:r>
              <a:rPr lang="en-US" sz="600" baseline="0" noProof="0">
                <a:solidFill>
                  <a:srgbClr val="454545"/>
                </a:solidFill>
              </a:rPr>
              <a:t> </a:t>
            </a:r>
            <a:r>
              <a:rPr lang="en-US" sz="600" noProof="0">
                <a:solidFill>
                  <a:srgbClr val="454545"/>
                </a:solidFill>
              </a:rPr>
              <a:t>2022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rtl="0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6E5CB1-E16B-4122-9C68-2768B321B822}"/>
              </a:ext>
            </a:extLst>
          </p:cNvPr>
          <p:cNvSpPr/>
          <p:nvPr userDrawn="1"/>
        </p:nvSpPr>
        <p:spPr>
          <a:xfrm>
            <a:off x="259492" y="4417541"/>
            <a:ext cx="8507627" cy="150195"/>
          </a:xfrm>
          <a:prstGeom prst="rect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013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0F55FA-EAE0-4D3E-B841-CE1064C7B870}"/>
              </a:ext>
            </a:extLst>
          </p:cNvPr>
          <p:cNvSpPr/>
          <p:nvPr userDrawn="1"/>
        </p:nvSpPr>
        <p:spPr>
          <a:xfrm>
            <a:off x="415950" y="881023"/>
            <a:ext cx="8507627" cy="150195"/>
          </a:xfrm>
          <a:prstGeom prst="rect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013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01047D-386F-C0E3-21AA-55F7F1703917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69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6" r:id="rId20"/>
  </p:sldLayoutIdLst>
  <p:hf hdr="0" ftr="0" dt="0"/>
  <p:txStyles>
    <p:titleStyle>
      <a:lvl1pPr algn="l" defTabSz="457144" rtl="0" eaLnBrk="1" fontAlgn="base" hangingPunct="1">
        <a:spcBef>
          <a:spcPct val="0"/>
        </a:spcBef>
        <a:spcAft>
          <a:spcPct val="0"/>
        </a:spcAft>
        <a:defRPr sz="21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44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288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32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577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59991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7986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380" indent="-285743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174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169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291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5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9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4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4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3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80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00" noProof="0">
                <a:solidFill>
                  <a:srgbClr val="454545"/>
                </a:solidFill>
              </a:rPr>
              <a:t>© GS1</a:t>
            </a:r>
            <a:r>
              <a:rPr lang="en-GB" sz="600" baseline="0" noProof="0">
                <a:solidFill>
                  <a:srgbClr val="454545"/>
                </a:solidFill>
              </a:rPr>
              <a:t> </a:t>
            </a:r>
            <a:r>
              <a:rPr lang="en-GB" sz="600" noProof="0">
                <a:solidFill>
                  <a:srgbClr val="454545"/>
                </a:solidFill>
              </a:rPr>
              <a:t>2022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FF1734-4CEB-3A5C-6F3E-16651816B2DB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2" y="4646132"/>
            <a:ext cx="1312639" cy="38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519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</p:sldLayoutIdLst>
  <p:hf hdr="0" ftr="0" dt="0"/>
  <p:txStyles>
    <p:titleStyle>
      <a:lvl1pPr algn="l" defTabSz="457144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44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288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32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577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59991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7986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380" indent="-285743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174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169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291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5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9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4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4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3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5D51D-3F2E-4ADA-9502-7F4864F72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0913998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5D51D-3F2E-4ADA-9502-7F4864F72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80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US" sz="600" noProof="0">
                <a:solidFill>
                  <a:srgbClr val="454545"/>
                </a:solidFill>
              </a:rPr>
              <a:t>© GS1</a:t>
            </a:r>
            <a:r>
              <a:rPr lang="en-US" sz="600" baseline="0" noProof="0">
                <a:solidFill>
                  <a:srgbClr val="454545"/>
                </a:solidFill>
              </a:rPr>
              <a:t> </a:t>
            </a:r>
            <a:r>
              <a:rPr lang="en-US" sz="600" noProof="0">
                <a:solidFill>
                  <a:srgbClr val="454545"/>
                </a:solidFill>
              </a:rPr>
              <a:t>2022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rtl="0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US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6E5CB1-E16B-4122-9C68-2768B321B822}"/>
              </a:ext>
            </a:extLst>
          </p:cNvPr>
          <p:cNvSpPr/>
          <p:nvPr userDrawn="1"/>
        </p:nvSpPr>
        <p:spPr>
          <a:xfrm>
            <a:off x="259492" y="4417541"/>
            <a:ext cx="8507627" cy="150195"/>
          </a:xfrm>
          <a:prstGeom prst="rect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013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0F55FA-EAE0-4D3E-B841-CE1064C7B870}"/>
              </a:ext>
            </a:extLst>
          </p:cNvPr>
          <p:cNvSpPr/>
          <p:nvPr userDrawn="1"/>
        </p:nvSpPr>
        <p:spPr>
          <a:xfrm>
            <a:off x="415950" y="881023"/>
            <a:ext cx="8507627" cy="150195"/>
          </a:xfrm>
          <a:prstGeom prst="rect">
            <a:avLst/>
          </a:prstGeom>
          <a:solidFill>
            <a:srgbClr val="FFFFFF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013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01047D-386F-C0E3-21AA-55F7F1703917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404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</p:sldLayoutIdLst>
  <p:hf hdr="0" ftr="0" dt="0"/>
  <p:txStyles>
    <p:titleStyle>
      <a:lvl1pPr algn="l" defTabSz="457144" rtl="0" eaLnBrk="1" fontAlgn="base" hangingPunct="1">
        <a:spcBef>
          <a:spcPct val="0"/>
        </a:spcBef>
        <a:spcAft>
          <a:spcPct val="0"/>
        </a:spcAft>
        <a:defRPr sz="21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44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44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288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32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577" algn="l" defTabSz="457144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59991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7986" marR="0" indent="-285743" algn="l" defTabSz="457144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380" indent="-285743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174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169" indent="-228572" algn="l" defTabSz="457144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291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5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9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4" indent="-228572" algn="l" defTabSz="45714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4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0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3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7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2" algn="l" defTabSz="457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C564216-F40A-41E4-91F1-3BBF60F5A8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C564216-F40A-41E4-91F1-3BBF60F5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C79BE723-443E-460D-9CEA-D85F1417E282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0" tIns="34287" rIns="68573" bIns="34287" numCol="1" anchor="ctr" anchorCtr="0" compatLnSpc="1">
            <a:prstTxWarp prst="textNoShape">
              <a:avLst/>
            </a:prstTxWarp>
          </a:bodyPr>
          <a:lstStyle/>
          <a:p>
            <a:r>
              <a:rPr lang="en-US"/>
              <a:t>Report &amp; Learn</a:t>
            </a:r>
            <a:br>
              <a:rPr lang="en-US"/>
            </a:br>
            <a:r>
              <a:rPr lang="en-US" sz="1350" b="1">
                <a:solidFill>
                  <a:srgbClr val="22BCB9"/>
                </a:solidFill>
              </a:rPr>
              <a:t>2D Pilot Report for repositor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C8EF1C3-A500-43E6-A129-906F0B3F519D}"/>
              </a:ext>
            </a:extLst>
          </p:cNvPr>
          <p:cNvSpPr/>
          <p:nvPr/>
        </p:nvSpPr>
        <p:spPr>
          <a:xfrm>
            <a:off x="447480" y="4152767"/>
            <a:ext cx="2577032" cy="274320"/>
          </a:xfrm>
          <a:prstGeom prst="rect">
            <a:avLst/>
          </a:prstGeom>
          <a:solidFill>
            <a:srgbClr val="002C6C"/>
          </a:solidFill>
          <a:ln w="19050">
            <a:solidFill>
              <a:srgbClr val="002C6C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219920">
              <a:defRPr/>
            </a:pPr>
            <a:r>
              <a:rPr lang="en-US" sz="900" b="1">
                <a:solidFill>
                  <a:prstClr val="white"/>
                </a:solidFill>
                <a:latin typeface="Verdana"/>
              </a:rPr>
              <a:t>Contact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207A83-DA65-427C-9E28-EDBBCA2A05E9}"/>
              </a:ext>
            </a:extLst>
          </p:cNvPr>
          <p:cNvSpPr/>
          <p:nvPr/>
        </p:nvSpPr>
        <p:spPr>
          <a:xfrm>
            <a:off x="3216244" y="4152767"/>
            <a:ext cx="3548888" cy="274320"/>
          </a:xfrm>
          <a:prstGeom prst="rect">
            <a:avLst/>
          </a:prstGeom>
          <a:solidFill>
            <a:srgbClr val="002C6C"/>
          </a:solidFill>
          <a:ln w="19050">
            <a:solidFill>
              <a:srgbClr val="002C6C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219920">
              <a:defRPr/>
            </a:pPr>
            <a:r>
              <a:rPr lang="en-US" sz="900" b="1">
                <a:solidFill>
                  <a:prstClr val="white"/>
                </a:solidFill>
                <a:latin typeface="Verdana"/>
              </a:rPr>
              <a:t>Email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865249-F78C-45BA-AD5E-64C37BD47460}"/>
              </a:ext>
            </a:extLst>
          </p:cNvPr>
          <p:cNvSpPr/>
          <p:nvPr/>
        </p:nvSpPr>
        <p:spPr>
          <a:xfrm>
            <a:off x="6956557" y="4156097"/>
            <a:ext cx="1734865" cy="274320"/>
          </a:xfrm>
          <a:prstGeom prst="rect">
            <a:avLst/>
          </a:prstGeom>
          <a:solidFill>
            <a:srgbClr val="002C6C"/>
          </a:solidFill>
          <a:ln w="19050">
            <a:solidFill>
              <a:srgbClr val="002C6C"/>
            </a:solidFill>
          </a:ln>
          <a:effectLst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defTabSz="219920">
              <a:defRPr/>
            </a:pPr>
            <a:r>
              <a:rPr lang="en-US" sz="900" b="1">
                <a:solidFill>
                  <a:prstClr val="white"/>
                </a:solidFill>
                <a:latin typeface="Verdana"/>
              </a:rPr>
              <a:t>Date:</a:t>
            </a:r>
          </a:p>
        </p:txBody>
      </p:sp>
      <p:graphicFrame>
        <p:nvGraphicFramePr>
          <p:cNvPr id="8" name="Table 2">
            <a:extLst>
              <a:ext uri="{FF2B5EF4-FFF2-40B4-BE49-F238E27FC236}">
                <a16:creationId xmlns:a16="http://schemas.microsoft.com/office/drawing/2014/main" id="{EC63191C-5389-44CD-9406-BE0BCE54AA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335681"/>
              </p:ext>
            </p:extLst>
          </p:nvPr>
        </p:nvGraphicFramePr>
        <p:xfrm>
          <a:off x="447480" y="946546"/>
          <a:ext cx="4114801" cy="30188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8471">
                  <a:extLst>
                    <a:ext uri="{9D8B030D-6E8A-4147-A177-3AD203B41FA5}">
                      <a16:colId xmlns:a16="http://schemas.microsoft.com/office/drawing/2014/main" val="183834299"/>
                    </a:ext>
                  </a:extLst>
                </a:gridCol>
                <a:gridCol w="1028699">
                  <a:extLst>
                    <a:ext uri="{9D8B030D-6E8A-4147-A177-3AD203B41FA5}">
                      <a16:colId xmlns:a16="http://schemas.microsoft.com/office/drawing/2014/main" val="4207160721"/>
                    </a:ext>
                  </a:extLst>
                </a:gridCol>
                <a:gridCol w="309466">
                  <a:extLst>
                    <a:ext uri="{9D8B030D-6E8A-4147-A177-3AD203B41FA5}">
                      <a16:colId xmlns:a16="http://schemas.microsoft.com/office/drawing/2014/main" val="741159405"/>
                    </a:ext>
                  </a:extLst>
                </a:gridCol>
                <a:gridCol w="1338165">
                  <a:extLst>
                    <a:ext uri="{9D8B030D-6E8A-4147-A177-3AD203B41FA5}">
                      <a16:colId xmlns:a16="http://schemas.microsoft.com/office/drawing/2014/main" val="2344004760"/>
                    </a:ext>
                  </a:extLst>
                </a:gridCol>
              </a:tblGrid>
              <a:tr h="205740">
                <a:tc gridSpan="4">
                  <a:txBody>
                    <a:bodyPr/>
                    <a:lstStyle/>
                    <a:p>
                      <a:pPr rtl="0"/>
                      <a:r>
                        <a:rPr lang="en-US" sz="900"/>
                        <a:t>Business Use Case Definition</a:t>
                      </a:r>
                    </a:p>
                  </a:txBody>
                  <a:tcPr marL="68580" marR="68580" marT="34290" marB="34290">
                    <a:solidFill>
                      <a:srgbClr val="8DB9C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2500695"/>
                  </a:ext>
                </a:extLst>
              </a:tr>
              <a:tr h="534747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Description of business challenge and desired outcome:</a:t>
                      </a:r>
                    </a:p>
                  </a:txBody>
                  <a:tcPr marL="68580" marR="68580" marT="34290" marB="34290" anchor="ctr"/>
                </a:tc>
                <a:tc gridSpan="3">
                  <a:txBody>
                    <a:bodyPr/>
                    <a:lstStyle/>
                    <a:p>
                      <a:pPr marL="0" indent="0" rtl="0">
                        <a:buFont typeface="Wingdings" panose="05000000000000000000" pitchFamily="2" charset="2"/>
                        <a:buNone/>
                      </a:pPr>
                      <a:endParaRPr lang="en-US" sz="800" i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6873948"/>
                  </a:ext>
                </a:extLst>
              </a:tr>
              <a:tr h="646813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Key Drivers:</a:t>
                      </a:r>
                    </a:p>
                    <a:p>
                      <a:pPr rtl="0"/>
                      <a:r>
                        <a:rPr lang="en-US" sz="900"/>
                        <a:t>(check all that apply)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nventory Management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raceability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afety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ustainability</a:t>
                      </a:r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sumer Engagement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mproved Packaging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intain POS efficiency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Other: 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sumer Engagement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mproved Packaging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intain POS efficiency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Other: </a:t>
                      </a:r>
                      <a:endParaRPr lang="en-US" sz="110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883002834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Pilot Scale &amp; Product Details:</a:t>
                      </a:r>
                      <a:endParaRPr lang="en-US" sz="90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 gridSpan="3">
                  <a:txBody>
                    <a:bodyPr/>
                    <a:lstStyle/>
                    <a:p>
                      <a:pPr marL="0" indent="0" rtl="0">
                        <a:buFont typeface="Wingdings" panose="05000000000000000000" pitchFamily="2" charset="2"/>
                        <a:buNone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umber of stores: </a:t>
                      </a:r>
                    </a:p>
                    <a:p>
                      <a:pPr marL="0" indent="0" rtl="0">
                        <a:buFont typeface="Wingdings" panose="05000000000000000000" pitchFamily="2" charset="2"/>
                        <a:buNone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ype of product: </a:t>
                      </a:r>
                    </a:p>
                    <a:p>
                      <a:pPr marL="0" indent="0" rtl="0">
                        <a:buFont typeface="Wingdings" panose="05000000000000000000" pitchFamily="2" charset="2"/>
                        <a:buNone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umber of products: 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2026422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Participants:</a:t>
                      </a:r>
                      <a:endParaRPr lang="en-US" sz="90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 gridSpan="2"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upplier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etailer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endParaRPr lang="en-US" sz="80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olution Provider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GS1 MO</a:t>
                      </a:r>
                      <a:endParaRPr lang="en-US" sz="105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97876231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Data encoded:</a:t>
                      </a:r>
                      <a:endParaRPr lang="en-US" sz="90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 gridSpan="2"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GTIN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est Before Date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atch/Lot Number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endParaRPr lang="en-US" sz="80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erial Number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xpiry Date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Other: </a:t>
                      </a:r>
                      <a:endParaRPr lang="en-US" sz="105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981685133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2D Barcode Selected:</a:t>
                      </a:r>
                      <a:endParaRPr lang="en-US" sz="90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 gridSpan="2"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QR Code</a:t>
                      </a:r>
                    </a:p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ata Matrix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endParaRPr lang="en-US" sz="80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GS1 DataMatrix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892668631"/>
                  </a:ext>
                </a:extLst>
              </a:tr>
            </a:tbl>
          </a:graphicData>
        </a:graphic>
      </p:graphicFrame>
      <p:graphicFrame>
        <p:nvGraphicFramePr>
          <p:cNvPr id="9" name="Table 3">
            <a:extLst>
              <a:ext uri="{FF2B5EF4-FFF2-40B4-BE49-F238E27FC236}">
                <a16:creationId xmlns:a16="http://schemas.microsoft.com/office/drawing/2014/main" id="{291DF394-1B66-4BF1-B65D-96B1F9D22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585861"/>
              </p:ext>
            </p:extLst>
          </p:nvPr>
        </p:nvGraphicFramePr>
        <p:xfrm>
          <a:off x="4652137" y="2451376"/>
          <a:ext cx="4039285" cy="16359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9285">
                  <a:extLst>
                    <a:ext uri="{9D8B030D-6E8A-4147-A177-3AD203B41FA5}">
                      <a16:colId xmlns:a16="http://schemas.microsoft.com/office/drawing/2014/main" val="2420492002"/>
                    </a:ext>
                  </a:extLst>
                </a:gridCol>
              </a:tblGrid>
              <a:tr h="229976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Key benefits / learnings</a:t>
                      </a:r>
                    </a:p>
                  </a:txBody>
                  <a:tcPr marL="68580" marR="68580" marT="34290" marB="34290">
                    <a:solidFill>
                      <a:srgbClr val="8D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493019"/>
                  </a:ext>
                </a:extLst>
              </a:tr>
              <a:tr h="742045">
                <a:tc>
                  <a:txBody>
                    <a:bodyPr/>
                    <a:lstStyle/>
                    <a:p>
                      <a:pPr marL="0" marR="0" lvl="0" indent="0" algn="l" defTabSz="457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/>
                        <a:t>Qualitative benefits/outcomes: 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038941395"/>
                  </a:ext>
                </a:extLst>
              </a:tr>
              <a:tr h="663936">
                <a:tc>
                  <a:txBody>
                    <a:bodyPr/>
                    <a:lstStyle/>
                    <a:p>
                      <a:pPr marL="0" marR="0" lvl="0" indent="0" algn="l" defTabSz="457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/>
                        <a:t>Quantitative metrics: 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279370531"/>
                  </a:ext>
                </a:extLst>
              </a:tr>
            </a:tbl>
          </a:graphicData>
        </a:graphic>
      </p:graphicFrame>
      <p:graphicFrame>
        <p:nvGraphicFramePr>
          <p:cNvPr id="15" name="Table 3">
            <a:extLst>
              <a:ext uri="{FF2B5EF4-FFF2-40B4-BE49-F238E27FC236}">
                <a16:creationId xmlns:a16="http://schemas.microsoft.com/office/drawing/2014/main" id="{EB9CE825-8D24-418B-9FAB-0D33BD742F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0187848"/>
              </p:ext>
            </p:extLst>
          </p:nvPr>
        </p:nvGraphicFramePr>
        <p:xfrm>
          <a:off x="4652137" y="946546"/>
          <a:ext cx="4039285" cy="14501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8403">
                  <a:extLst>
                    <a:ext uri="{9D8B030D-6E8A-4147-A177-3AD203B41FA5}">
                      <a16:colId xmlns:a16="http://schemas.microsoft.com/office/drawing/2014/main" val="2420492002"/>
                    </a:ext>
                  </a:extLst>
                </a:gridCol>
                <a:gridCol w="941951">
                  <a:extLst>
                    <a:ext uri="{9D8B030D-6E8A-4147-A177-3AD203B41FA5}">
                      <a16:colId xmlns:a16="http://schemas.microsoft.com/office/drawing/2014/main" val="3519307881"/>
                    </a:ext>
                  </a:extLst>
                </a:gridCol>
                <a:gridCol w="1128931">
                  <a:extLst>
                    <a:ext uri="{9D8B030D-6E8A-4147-A177-3AD203B41FA5}">
                      <a16:colId xmlns:a16="http://schemas.microsoft.com/office/drawing/2014/main" val="1287385747"/>
                    </a:ext>
                  </a:extLst>
                </a:gridCol>
              </a:tblGrid>
              <a:tr h="208359">
                <a:tc gridSpan="3">
                  <a:txBody>
                    <a:bodyPr/>
                    <a:lstStyle/>
                    <a:p>
                      <a:pPr rtl="0"/>
                      <a:r>
                        <a:rPr lang="en-US" sz="900"/>
                        <a:t>Organisation Details</a:t>
                      </a:r>
                    </a:p>
                  </a:txBody>
                  <a:tcPr marL="68580" marR="68580" marT="34290" marB="34290">
                    <a:solidFill>
                      <a:srgbClr val="8DB9C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en-US" sz="900"/>
                    </a:p>
                  </a:txBody>
                  <a:tcPr marL="68580" marR="68580" marT="34290" marB="34290">
                    <a:solidFill>
                      <a:srgbClr val="8D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493019"/>
                  </a:ext>
                </a:extLst>
              </a:tr>
              <a:tr h="312286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GS1 Member Organisation:</a:t>
                      </a:r>
                    </a:p>
                  </a:txBody>
                  <a:tcPr marL="68580" marR="68580" marT="34290" marB="34290" anchor="ctr"/>
                </a:tc>
                <a:tc gridSpan="2">
                  <a:txBody>
                    <a:bodyPr/>
                    <a:lstStyle/>
                    <a:p>
                      <a:pPr rtl="0"/>
                      <a:endParaRPr lang="en-US" sz="900"/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pPr rtl="0"/>
                      <a:endParaRPr lang="en-US" sz="90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038941395"/>
                  </a:ext>
                </a:extLst>
              </a:tr>
              <a:tr h="312286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Retailer, Brand / Manufacturer and Solution Provider Company Names involved in pilot:</a:t>
                      </a:r>
                    </a:p>
                  </a:txBody>
                  <a:tcPr marL="68580" marR="68580" marT="34290" marB="34290" anchor="ctr"/>
                </a:tc>
                <a:tc gridSpan="2">
                  <a:txBody>
                    <a:bodyPr/>
                    <a:lstStyle/>
                    <a:p>
                      <a:pPr marL="171450" indent="-171450" algn="l" defTabSz="457144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US" sz="900" i="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1450" indent="-171450" algn="l" defTabSz="457144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US" sz="900" i="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1450" indent="-171450" algn="l" defTabSz="457144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US" sz="900" i="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1450" indent="-171450" algn="l" defTabSz="457144" rtl="0" eaLnBrk="1" latinLnBrk="0" hangingPunct="1">
                        <a:buFont typeface="Wingdings" panose="05000000000000000000" pitchFamily="2" charset="2"/>
                        <a:buChar char="q"/>
                      </a:pPr>
                      <a:r>
                        <a:rPr lang="en-US" sz="900" i="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pPr marL="171450" indent="-171450" algn="l" defTabSz="457144" rtl="0" eaLnBrk="1" latinLnBrk="0" hangingPunct="1">
                        <a:buFont typeface="Wingdings" panose="05000000000000000000" pitchFamily="2" charset="2"/>
                        <a:buChar char="q"/>
                      </a:pPr>
                      <a:endParaRPr lang="en-US" sz="900" i="0" kern="120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279370531"/>
                  </a:ext>
                </a:extLst>
              </a:tr>
              <a:tr h="312286">
                <a:tc>
                  <a:txBody>
                    <a:bodyPr/>
                    <a:lstStyle/>
                    <a:p>
                      <a:pPr rtl="0"/>
                      <a:r>
                        <a:rPr lang="en-US" sz="900"/>
                        <a:t>Core Focus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etailer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171450" indent="-171450" rtl="0">
                        <a:buFont typeface="Wingdings" panose="05000000000000000000" pitchFamily="2" charset="2"/>
                        <a:buChar char="q"/>
                      </a:pPr>
                      <a:r>
                        <a:rPr lang="en-US" sz="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nufacturer</a:t>
                      </a:r>
                      <a:endParaRPr lang="en-US" sz="1050" i="1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9528124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6738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c7af6dba-f870-40c6-a7fb-5991d73382c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6334"/>
        </a:solidFill>
        <a:ln w="25400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</a:spDef>
    <a:lnDef>
      <a:spPr>
        <a:ln w="12700"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GS1_Template_PPT_Corporate_16-9_2018-01-08 [Read-Only]" id="{33058D58-F593-4324-AAD0-76C2BF5F0B31}" vid="{76DDE033-2EEC-4602-BE79-8EA5B5C13E61}"/>
    </a:ext>
  </a:extLst>
</a:theme>
</file>

<file path=ppt/theme/theme2.xml><?xml version="1.0" encoding="utf-8"?>
<a:theme xmlns:a="http://schemas.openxmlformats.org/drawingml/2006/main" name="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GS1_Template_PPT_Corporate_16-9_2018-01-08 [Read-Only]" id="{33058D58-F593-4324-AAD0-76C2BF5F0B31}" vid="{20D5ABD5-6EE3-4287-835B-DC408A2F1412}"/>
    </a:ext>
  </a:extLst>
</a:theme>
</file>

<file path=ppt/theme/theme3.xml><?xml version="1.0" encoding="utf-8"?>
<a:theme xmlns:a="http://schemas.openxmlformats.org/drawingml/2006/main" name="18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Presentation1" id="{4EEEA848-CE8B-4019-9859-27B804BF0E95}" vid="{718C36A3-F70D-4374-8978-CA5DEEEDBD6A}"/>
    </a:ext>
  </a:extLst>
</a:theme>
</file>

<file path=ppt/theme/theme4.xml><?xml version="1.0" encoding="utf-8"?>
<a:theme xmlns:a="http://schemas.openxmlformats.org/drawingml/2006/main" name="1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GS1_Template_PPT_Corporate_16-9_2018-01-08 [Read-Only]" id="{33058D58-F593-4324-AAD0-76C2BF5F0B31}" vid="{20D5ABD5-6EE3-4287-835B-DC408A2F141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9605c04a-8c64-47ba-9645-510c07b39b26" xsi:nil="true"/>
    <SharedWithUsers xmlns="55e7a26e-f7d7-4b80-93a0-5ea587405c86">
      <UserInfo>
        <DisplayName>Ana Paula Vendramini Maniero</DisplayName>
        <AccountId>22</AccountId>
        <AccountType/>
      </UserInfo>
      <UserInfo>
        <DisplayName>Elena Tomanovich</DisplayName>
        <AccountId>23</AccountId>
        <AccountType/>
      </UserInfo>
      <UserInfo>
        <DisplayName>Christine Carina</DisplayName>
        <AccountId>187</AccountId>
        <AccountType/>
      </UserInfo>
    </SharedWithUsers>
    <TaxCatchAll xmlns="55e7a26e-f7d7-4b80-93a0-5ea587405c86" xsi:nil="true"/>
    <lcf76f155ced4ddcb4097134ff3c332f xmlns="9605c04a-8c64-47ba-9645-510c07b39b26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F38FF595D6D341A6828CA7BDF7D2FD" ma:contentTypeVersion="14" ma:contentTypeDescription="Create a new document." ma:contentTypeScope="" ma:versionID="9a27cd1b8b58981f79223b3adf5769d7">
  <xsd:schema xmlns:xsd="http://www.w3.org/2001/XMLSchema" xmlns:xs="http://www.w3.org/2001/XMLSchema" xmlns:p="http://schemas.microsoft.com/office/2006/metadata/properties" xmlns:ns2="9605c04a-8c64-47ba-9645-510c07b39b26" xmlns:ns3="55e7a26e-f7d7-4b80-93a0-5ea587405c86" targetNamespace="http://schemas.microsoft.com/office/2006/metadata/properties" ma:root="true" ma:fieldsID="280495edded20520380a4b8f5a606f8c" ns2:_="" ns3:_="">
    <xsd:import namespace="9605c04a-8c64-47ba-9645-510c07b39b26"/>
    <xsd:import namespace="55e7a26e-f7d7-4b80-93a0-5ea587405c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05c04a-8c64-47ba-9645-510c07b39b2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3892e53a-9b3c-4010-9cd1-82aa4eeb88e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7a26e-f7d7-4b80-93a0-5ea587405c8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4fc5e381-749c-426b-9743-b5ed2f5ef63b}" ma:internalName="TaxCatchAll" ma:showField="CatchAllData" ma:web="55e7a26e-f7d7-4b80-93a0-5ea587405c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E05676-60C0-472D-B05F-CEF7E226E1C4}">
  <ds:schemaRefs>
    <ds:schemaRef ds:uri="55e7a26e-f7d7-4b80-93a0-5ea587405c86"/>
    <ds:schemaRef ds:uri="9605c04a-8c64-47ba-9645-510c07b39b2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D58D8A-5597-4DA9-9ACA-F191C12CC5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19A7CB0-B89B-4A5F-A772-4C0FA5BACD3C}"/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44</Words>
  <Application>Microsoft Office PowerPoint</Application>
  <PresentationFormat>On-screen Show (16:9)</PresentationFormat>
  <Paragraphs>5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Lucida Grande</vt:lpstr>
      <vt:lpstr>Segoe UI Light</vt:lpstr>
      <vt:lpstr>Verdana</vt:lpstr>
      <vt:lpstr>Wingdings</vt:lpstr>
      <vt:lpstr>Title</vt:lpstr>
      <vt:lpstr>Content</vt:lpstr>
      <vt:lpstr>18_Content</vt:lpstr>
      <vt:lpstr>1_Content</vt:lpstr>
      <vt:lpstr>think-cell Slide</vt:lpstr>
      <vt:lpstr>Report &amp; Learn 2D Pilot Report for reposito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ri Schrop</dc:creator>
  <cp:lastModifiedBy>Kevin Stark</cp:lastModifiedBy>
  <cp:revision>3</cp:revision>
  <cp:lastPrinted>2022-06-23T15:11:11Z</cp:lastPrinted>
  <dcterms:created xsi:type="dcterms:W3CDTF">2022-02-28T20:15:27Z</dcterms:created>
  <dcterms:modified xsi:type="dcterms:W3CDTF">2022-12-09T18:4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F38FF595D6D341A6828CA7BDF7D2FD</vt:lpwstr>
  </property>
  <property fmtid="{D5CDD505-2E9C-101B-9397-08002B2CF9AE}" pid="3" name="Order">
    <vt:r8>11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</Properties>
</file>